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10"/>
  </p:notesMasterIdLst>
  <p:handoutMasterIdLst>
    <p:handoutMasterId r:id="rId11"/>
  </p:handoutMasterIdLst>
  <p:sldIdLst>
    <p:sldId id="475" r:id="rId6"/>
    <p:sldId id="458" r:id="rId7"/>
    <p:sldId id="470" r:id="rId8"/>
    <p:sldId id="471" r:id="rId9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13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3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smtClean="0"/>
              <a:t>© 2014 Capgemini. All rights reserved.</a:t>
            </a:r>
            <a:endParaRPr lang="en-US" sz="800" dirty="0" smtClean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000" dirty="0" smtClean="0"/>
              <a:t>SAP UI5 – Intermediate Level</a:t>
            </a:r>
            <a:endParaRPr lang="en-US" sz="4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88" y="188640"/>
            <a:ext cx="9906000" cy="1188000"/>
          </a:xfrm>
        </p:spPr>
        <p:txBody>
          <a:bodyPr/>
          <a:lstStyle/>
          <a:p>
            <a:r>
              <a:rPr lang="en-US" dirty="0" smtClean="0"/>
              <a:t>Chrome developer tools and debugging UI5 applications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Elements section- Gives you the detail of the HTML DOM structure and CSS properties</a:t>
            </a:r>
          </a:p>
          <a:p>
            <a:r>
              <a:rPr lang="en-US" sz="2000" dirty="0" smtClean="0"/>
              <a:t>Networks- All the get and Post call the browser is making</a:t>
            </a:r>
          </a:p>
          <a:p>
            <a:r>
              <a:rPr lang="en-US" sz="2000" dirty="0" smtClean="0"/>
              <a:t>Sources- To see all the scripts</a:t>
            </a:r>
          </a:p>
          <a:p>
            <a:r>
              <a:rPr lang="en-US" sz="2000" dirty="0" smtClean="0"/>
              <a:t>Resources- Cookies and Local storage</a:t>
            </a:r>
          </a:p>
          <a:p>
            <a:r>
              <a:rPr lang="en-US" sz="2000" dirty="0" smtClean="0"/>
              <a:t>Console</a:t>
            </a:r>
          </a:p>
          <a:p>
            <a:endParaRPr lang="en-US" sz="2000" dirty="0" smtClean="0"/>
          </a:p>
          <a:p>
            <a:r>
              <a:rPr lang="en-US" sz="2000" dirty="0" smtClean="0"/>
              <a:t>Break points</a:t>
            </a:r>
          </a:p>
          <a:p>
            <a:r>
              <a:rPr lang="en-US" sz="2000" dirty="0" smtClean="0"/>
              <a:t>Use shortcut keys for debugging</a:t>
            </a:r>
          </a:p>
          <a:p>
            <a:endParaRPr lang="en-US" sz="2000" dirty="0" smtClean="0"/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743200"/>
            <a:ext cx="6602253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estions???</a:t>
            </a:r>
            <a:endParaRPr lang="en-US" sz="54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4" name="Picture 2" descr="http://mannerofspeaking.files.wordpress.com/2010/08/question.jpg?w=64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3600" y="1498598"/>
            <a:ext cx="3054350" cy="375920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560314-CA25-4DBA-9B5F-0CC980DF50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8A5D5D-0E5B-4C40-98D2-49B10A77853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7851194-B695-4F7A-AE00-42B4E9EFFD98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2136</TotalTime>
  <Words>59</Words>
  <Application>Microsoft Office PowerPoint</Application>
  <PresentationFormat>A4 Paper (210x297 mm)</PresentationFormat>
  <Paragraphs>11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Courier New</vt:lpstr>
      <vt:lpstr>Wingdings</vt:lpstr>
      <vt:lpstr>Capgemini ppt template</vt:lpstr>
      <vt:lpstr>Conception personnalisée</vt:lpstr>
      <vt:lpstr>SAP UI5 – Intermediate Level</vt:lpstr>
      <vt:lpstr>Chrome developer tools and debugging UI5 applications: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491</cp:revision>
  <dcterms:created xsi:type="dcterms:W3CDTF">2011-08-17T05:35:48Z</dcterms:created>
  <dcterms:modified xsi:type="dcterms:W3CDTF">2021-03-08T16:0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